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0" r:id="rId1"/>
  </p:sldMasterIdLst>
  <p:notesMasterIdLst>
    <p:notesMasterId r:id="rId33"/>
  </p:notesMasterIdLst>
  <p:sldIdLst>
    <p:sldId id="257" r:id="rId2"/>
    <p:sldId id="264" r:id="rId3"/>
    <p:sldId id="261" r:id="rId4"/>
    <p:sldId id="262" r:id="rId5"/>
    <p:sldId id="266" r:id="rId6"/>
    <p:sldId id="263" r:id="rId7"/>
    <p:sldId id="265" r:id="rId8"/>
    <p:sldId id="267" r:id="rId9"/>
    <p:sldId id="268" r:id="rId10"/>
    <p:sldId id="269" r:id="rId11"/>
    <p:sldId id="284" r:id="rId12"/>
    <p:sldId id="292" r:id="rId13"/>
    <p:sldId id="291" r:id="rId14"/>
    <p:sldId id="270" r:id="rId15"/>
    <p:sldId id="271" r:id="rId16"/>
    <p:sldId id="274" r:id="rId17"/>
    <p:sldId id="273" r:id="rId18"/>
    <p:sldId id="275" r:id="rId19"/>
    <p:sldId id="276" r:id="rId20"/>
    <p:sldId id="279" r:id="rId21"/>
    <p:sldId id="277" r:id="rId22"/>
    <p:sldId id="278" r:id="rId23"/>
    <p:sldId id="280" r:id="rId24"/>
    <p:sldId id="281" r:id="rId25"/>
    <p:sldId id="283" r:id="rId26"/>
    <p:sldId id="282" r:id="rId27"/>
    <p:sldId id="293" r:id="rId28"/>
    <p:sldId id="287" r:id="rId29"/>
    <p:sldId id="290" r:id="rId30"/>
    <p:sldId id="289" r:id="rId31"/>
    <p:sldId id="288" r:id="rId32"/>
  </p:sldIdLst>
  <p:sldSz cx="12192000" cy="6858000"/>
  <p:notesSz cx="6858000" cy="9144000"/>
  <p:custDataLst>
    <p:tags r:id="rId3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B439"/>
    <a:srgbClr val="E68193"/>
    <a:srgbClr val="529FD6"/>
    <a:srgbClr val="58A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2718" autoAdjust="0"/>
  </p:normalViewPr>
  <p:slideViewPr>
    <p:cSldViewPr snapToGrid="0">
      <p:cViewPr varScale="1">
        <p:scale>
          <a:sx n="66" d="100"/>
          <a:sy n="66" d="100"/>
        </p:scale>
        <p:origin x="2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C6E2B1-98DD-415C-9B7A-800F5F1D3C7E}" type="datetimeFigureOut">
              <a:rPr lang="pt-BR" smtClean="0"/>
              <a:t>24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587A96-9B9B-4E26-BB86-B39F25E4682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1651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587A96-9B9B-4E26-BB86-B39F25E4682D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1414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587A96-9B9B-4E26-BB86-B39F25E4682D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6940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88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1433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9643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0570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20578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6806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1798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5632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9390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2496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1705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BD08BC-CCA9-416F-9D8D-5023F8FBC746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A23169-DFD0-4383-B54C-EDF230B708B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4923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audio" Target="../media/media7.mp3"/><Relationship Id="rId1" Type="http://schemas.microsoft.com/office/2007/relationships/media" Target="../media/media7.mp3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8.mp3"/><Relationship Id="rId1" Type="http://schemas.microsoft.com/office/2007/relationships/media" Target="../media/media8.mp3"/><Relationship Id="rId5" Type="http://schemas.openxmlformats.org/officeDocument/2006/relationships/image" Target="../media/image7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9.mp3"/><Relationship Id="rId1" Type="http://schemas.microsoft.com/office/2007/relationships/media" Target="../media/media9.mp3"/><Relationship Id="rId5" Type="http://schemas.openxmlformats.org/officeDocument/2006/relationships/image" Target="../media/image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0.mp3"/><Relationship Id="rId1" Type="http://schemas.microsoft.com/office/2007/relationships/media" Target="../media/media10.mp3"/><Relationship Id="rId5" Type="http://schemas.openxmlformats.org/officeDocument/2006/relationships/image" Target="../media/image7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microsoft.com/office/2007/relationships/media" Target="../media/media12.mp3"/><Relationship Id="rId7" Type="http://schemas.openxmlformats.org/officeDocument/2006/relationships/image" Target="../media/image7.png"/><Relationship Id="rId2" Type="http://schemas.openxmlformats.org/officeDocument/2006/relationships/audio" Target="../media/media11.mp3"/><Relationship Id="rId1" Type="http://schemas.microsoft.com/office/2007/relationships/media" Target="../media/media11.mp3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audio" Target="../media/media12.mp3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kendiwi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Wgkendi@gmail.com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NULL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2.bin"/><Relationship Id="rId9" Type="http://schemas.openxmlformats.org/officeDocument/2006/relationships/hyperlink" Target="https://github.com/kendiwi/meetup_ZUP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mp3"/><Relationship Id="rId13" Type="http://schemas.openxmlformats.org/officeDocument/2006/relationships/slideLayout" Target="../slideLayouts/slideLayout2.xml"/><Relationship Id="rId3" Type="http://schemas.microsoft.com/office/2007/relationships/media" Target="../media/media2.mp3"/><Relationship Id="rId7" Type="http://schemas.microsoft.com/office/2007/relationships/media" Target="../media/media4.mp3"/><Relationship Id="rId12" Type="http://schemas.openxmlformats.org/officeDocument/2006/relationships/audio" Target="../media/media6.mp3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audio" Target="../media/media3.mp3"/><Relationship Id="rId11" Type="http://schemas.microsoft.com/office/2007/relationships/media" Target="../media/media6.mp3"/><Relationship Id="rId5" Type="http://schemas.microsoft.com/office/2007/relationships/media" Target="../media/media3.mp3"/><Relationship Id="rId10" Type="http://schemas.openxmlformats.org/officeDocument/2006/relationships/audio" Target="../media/media5.mp3"/><Relationship Id="rId4" Type="http://schemas.openxmlformats.org/officeDocument/2006/relationships/audio" Target="../media/media2.mp3"/><Relationship Id="rId9" Type="http://schemas.microsoft.com/office/2007/relationships/media" Target="../media/media5.mp3"/><Relationship Id="rId1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38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89133" cy="6858000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6222274" y="2430159"/>
            <a:ext cx="579990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Como é o trabalho de um cientista de dados?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William Kendi Goto</a:t>
            </a:r>
          </a:p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Banco Itaú</a:t>
            </a: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39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49856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nálise da qualidade dos dado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4292931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8186849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3600000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plot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ção da música por estil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4292930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4292930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plot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ção da música por estil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8186848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Retângulo 28"/>
          <p:cNvSpPr/>
          <p:nvPr/>
        </p:nvSpPr>
        <p:spPr>
          <a:xfrm>
            <a:off x="818684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plot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 por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lo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44" y="2246833"/>
            <a:ext cx="3557043" cy="4070838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034" y="2579881"/>
            <a:ext cx="2422565" cy="2629584"/>
          </a:xfrm>
          <a:prstGeom prst="rect">
            <a:avLst/>
          </a:prstGeom>
        </p:spPr>
      </p:pic>
      <p:sp>
        <p:nvSpPr>
          <p:cNvPr id="23" name="CaixaDeTexto 22"/>
          <p:cNvSpPr txBox="1"/>
          <p:nvPr/>
        </p:nvSpPr>
        <p:spPr>
          <a:xfrm>
            <a:off x="668958" y="1655738"/>
            <a:ext cx="3330054" cy="508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ra um set com 35 min de musica!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223" y="2166152"/>
            <a:ext cx="3457583" cy="4133202"/>
          </a:xfrm>
          <a:prstGeom prst="rect">
            <a:avLst/>
          </a:prstGeom>
        </p:spPr>
      </p:pic>
      <p:pic>
        <p:nvPicPr>
          <p:cNvPr id="6" name="gangnam_10_sec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7120247" y="5046674"/>
            <a:ext cx="325582" cy="3255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311" y="2387930"/>
            <a:ext cx="1388238" cy="1388238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319" y="2184184"/>
            <a:ext cx="3505398" cy="4097860"/>
          </a:xfrm>
          <a:prstGeom prst="rect">
            <a:avLst/>
          </a:prstGeom>
        </p:spPr>
      </p:pic>
      <p:sp>
        <p:nvSpPr>
          <p:cNvPr id="26" name="CaixaDeTexto 25"/>
          <p:cNvSpPr txBox="1"/>
          <p:nvPr/>
        </p:nvSpPr>
        <p:spPr>
          <a:xfrm>
            <a:off x="9410866" y="5046674"/>
            <a:ext cx="20191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úsica quebrada, começou a tocar e depois parou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793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6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  <p:bldLst>
      <p:bldP spid="16" grpId="0" animBg="1"/>
      <p:bldP spid="17" grpId="0" animBg="1"/>
      <p:bldP spid="18" grpId="0" animBg="1"/>
      <p:bldP spid="19" grpId="0"/>
      <p:bldP spid="20" grpId="0" animBg="1"/>
      <p:bldP spid="21" grpId="0"/>
      <p:bldP spid="22" grpId="0" animBg="1"/>
      <p:bldP spid="29" grpId="0"/>
      <p:bldP spid="23" grpId="0"/>
      <p:bldP spid="15" grpId="0" animBg="1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349772"/>
            <a:ext cx="12192000" cy="1682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tirando as </a:t>
            </a: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consistências (propositais </a:t>
            </a:r>
            <a:r>
              <a:rPr lang="pt-BR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),</a:t>
            </a:r>
          </a:p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ficamos </a:t>
            </a: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om 10 músicas de cada estilo.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914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87190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nálise da relação entre as variáveis: </a:t>
            </a:r>
            <a:r>
              <a:rPr lang="pt-BR" sz="2400" b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born.pairplot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2082853" cy="5728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20828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mos buscando um par de variáveis que separe bem os estilos da música</a:t>
            </a:r>
            <a:endParaRPr lang="pt-BR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72865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417" y="1117700"/>
            <a:ext cx="5887272" cy="54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804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744947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exemplo de um par de variável bom e outro ruim</a:t>
            </a:r>
          </a:p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 nosso 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 queremos separar os estilos)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62" y="2185252"/>
            <a:ext cx="5549021" cy="3568702"/>
          </a:xfrm>
          <a:prstGeom prst="rect">
            <a:avLst/>
          </a:prstGeom>
        </p:spPr>
      </p:pic>
      <p:sp>
        <p:nvSpPr>
          <p:cNvPr id="18" name="Retângulo 17"/>
          <p:cNvSpPr/>
          <p:nvPr/>
        </p:nvSpPr>
        <p:spPr>
          <a:xfrm>
            <a:off x="333157" y="1346887"/>
            <a:ext cx="5549025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333154" y="1370205"/>
            <a:ext cx="53727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tidas por minuto x duração da músic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333157" y="1346887"/>
            <a:ext cx="5549025" cy="478623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6210999" y="1354616"/>
            <a:ext cx="554902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34089" y="1370205"/>
            <a:ext cx="52771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wr_mean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wr_cv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416" y="2179701"/>
            <a:ext cx="5456194" cy="3579016"/>
          </a:xfrm>
          <a:prstGeom prst="rect">
            <a:avLst/>
          </a:prstGeom>
        </p:spPr>
      </p:pic>
      <p:sp>
        <p:nvSpPr>
          <p:cNvPr id="11" name="Retângulo 10"/>
          <p:cNvSpPr/>
          <p:nvPr/>
        </p:nvSpPr>
        <p:spPr>
          <a:xfrm>
            <a:off x="6211000" y="1346887"/>
            <a:ext cx="5549025" cy="478623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9041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15" grpId="0" animBg="1"/>
      <p:bldP spid="6" grpId="0" animBg="1"/>
      <p:bldP spid="8" grpId="0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79624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como funcionam os modelos | fronteiras 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ecisão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ico de dispersão: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duração da músic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57" y="1555992"/>
            <a:ext cx="1419423" cy="695422"/>
          </a:xfrm>
          <a:prstGeom prst="rect">
            <a:avLst/>
          </a:prstGeom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116" y="1555992"/>
            <a:ext cx="7649029" cy="4988498"/>
          </a:xfrm>
          <a:prstGeom prst="rect">
            <a:avLst/>
          </a:prstGeom>
        </p:spPr>
      </p:pic>
      <p:cxnSp>
        <p:nvCxnSpPr>
          <p:cNvPr id="44" name="Conector reto 43"/>
          <p:cNvCxnSpPr/>
          <p:nvPr/>
        </p:nvCxnSpPr>
        <p:spPr>
          <a:xfrm flipV="1">
            <a:off x="4938891" y="3807816"/>
            <a:ext cx="2861891" cy="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CaixaDeTexto 60"/>
          <p:cNvSpPr txBox="1"/>
          <p:nvPr/>
        </p:nvSpPr>
        <p:spPr>
          <a:xfrm>
            <a:off x="8093563" y="3346151"/>
            <a:ext cx="17703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</a:t>
            </a:r>
          </a:p>
          <a:p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ee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2" name="Conector reto 61"/>
          <p:cNvCxnSpPr/>
          <p:nvPr/>
        </p:nvCxnSpPr>
        <p:spPr>
          <a:xfrm>
            <a:off x="4938891" y="1903703"/>
            <a:ext cx="0" cy="372458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ipse 67"/>
          <p:cNvSpPr/>
          <p:nvPr/>
        </p:nvSpPr>
        <p:spPr>
          <a:xfrm>
            <a:off x="4606245" y="2468512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9" name="CaixaDeTexto 68"/>
          <p:cNvSpPr txBox="1"/>
          <p:nvPr/>
        </p:nvSpPr>
        <p:spPr>
          <a:xfrm>
            <a:off x="3434044" y="1762642"/>
            <a:ext cx="15311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Uma música 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ov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Conector de seta reta 70"/>
          <p:cNvCxnSpPr/>
          <p:nvPr/>
        </p:nvCxnSpPr>
        <p:spPr>
          <a:xfrm>
            <a:off x="4316173" y="2301758"/>
            <a:ext cx="230134" cy="11923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Elipse 73"/>
          <p:cNvSpPr/>
          <p:nvPr/>
        </p:nvSpPr>
        <p:spPr>
          <a:xfrm>
            <a:off x="4606245" y="2468512"/>
            <a:ext cx="216000" cy="216000"/>
          </a:xfrm>
          <a:prstGeom prst="ellipse">
            <a:avLst/>
          </a:prstGeom>
          <a:solidFill>
            <a:srgbClr val="57B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3194881" y="2496280"/>
            <a:ext cx="1770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lian</a:t>
            </a:r>
            <a:r>
              <a:rPr lang="pt-BR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s</a:t>
            </a:r>
            <a:endParaRPr lang="pt-BR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967848" y="3826691"/>
            <a:ext cx="1770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nteira de decisão</a:t>
            </a:r>
            <a:endParaRPr lang="pt-BR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981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8" grpId="0" animBg="1"/>
      <p:bldP spid="69" grpId="0"/>
      <p:bldP spid="74" grpId="0" animBg="1"/>
      <p:bldP spid="16" grpId="0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78117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modelos diferentes podem ter fronteiras diferente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ico de dispersão: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duração da músic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57" y="1555992"/>
            <a:ext cx="1419423" cy="695422"/>
          </a:xfrm>
          <a:prstGeom prst="rect">
            <a:avLst/>
          </a:prstGeom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116" y="1555992"/>
            <a:ext cx="7649029" cy="4988498"/>
          </a:xfrm>
          <a:prstGeom prst="rect">
            <a:avLst/>
          </a:prstGeom>
        </p:spPr>
      </p:pic>
      <p:grpSp>
        <p:nvGrpSpPr>
          <p:cNvPr id="22" name="Grupo 21"/>
          <p:cNvGrpSpPr/>
          <p:nvPr/>
        </p:nvGrpSpPr>
        <p:grpSpPr>
          <a:xfrm>
            <a:off x="4140926" y="2011680"/>
            <a:ext cx="3566160" cy="3616778"/>
            <a:chOff x="4140926" y="2011680"/>
            <a:chExt cx="3566160" cy="3616778"/>
          </a:xfrm>
        </p:grpSpPr>
        <p:cxnSp>
          <p:nvCxnSpPr>
            <p:cNvPr id="11" name="Conector reto 10"/>
            <p:cNvCxnSpPr/>
            <p:nvPr/>
          </p:nvCxnSpPr>
          <p:spPr>
            <a:xfrm flipV="1">
              <a:off x="4545874" y="3762104"/>
              <a:ext cx="692332" cy="186635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>
              <a:off x="4140926" y="2011680"/>
              <a:ext cx="1097280" cy="175042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reto 19"/>
            <p:cNvCxnSpPr/>
            <p:nvPr/>
          </p:nvCxnSpPr>
          <p:spPr>
            <a:xfrm>
              <a:off x="5238206" y="3762103"/>
              <a:ext cx="2468880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CaixaDeTexto 28"/>
          <p:cNvSpPr txBox="1"/>
          <p:nvPr/>
        </p:nvSpPr>
        <p:spPr>
          <a:xfrm>
            <a:off x="8312406" y="3057111"/>
            <a:ext cx="17703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Linear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Elipse 36"/>
          <p:cNvSpPr/>
          <p:nvPr/>
        </p:nvSpPr>
        <p:spPr>
          <a:xfrm>
            <a:off x="4606245" y="2468512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Elipse 37"/>
          <p:cNvSpPr/>
          <p:nvPr/>
        </p:nvSpPr>
        <p:spPr>
          <a:xfrm>
            <a:off x="4606245" y="2468512"/>
            <a:ext cx="216000" cy="216000"/>
          </a:xfrm>
          <a:prstGeom prst="ellipse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4545874" y="1739386"/>
            <a:ext cx="1770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 smtClean="0">
                <a:solidFill>
                  <a:srgbClr val="529F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</a:t>
            </a:r>
            <a:endParaRPr lang="pt-BR" b="1" dirty="0">
              <a:solidFill>
                <a:srgbClr val="529F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194396" y="3806579"/>
            <a:ext cx="1770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nteira de decisão</a:t>
            </a:r>
            <a:endParaRPr lang="pt-BR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3193262" y="2361346"/>
            <a:ext cx="11465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 mesma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usic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Conector de seta reta 22"/>
          <p:cNvCxnSpPr/>
          <p:nvPr/>
        </p:nvCxnSpPr>
        <p:spPr>
          <a:xfrm flipV="1">
            <a:off x="4325280" y="2740303"/>
            <a:ext cx="206513" cy="4752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074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16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698161"/>
            <a:ext cx="12192001" cy="82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duração da musica é complicado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7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66656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nálise do espectrograma: </a:t>
            </a:r>
            <a:r>
              <a:rPr lang="pt-BR" sz="2400" b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lian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400" b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rgbClr val="58A14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k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eba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IRO - </a:t>
            </a:r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ean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22" y="1496806"/>
            <a:ext cx="11167440" cy="5047683"/>
          </a:xfrm>
          <a:prstGeom prst="rect">
            <a:avLst/>
          </a:prstGeom>
        </p:spPr>
      </p:pic>
      <p:cxnSp>
        <p:nvCxnSpPr>
          <p:cNvPr id="8" name="Conector reto 7"/>
          <p:cNvCxnSpPr/>
          <p:nvPr/>
        </p:nvCxnSpPr>
        <p:spPr>
          <a:xfrm flipV="1">
            <a:off x="1008984" y="1670230"/>
            <a:ext cx="0" cy="44152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ângulo 16"/>
          <p:cNvSpPr/>
          <p:nvPr/>
        </p:nvSpPr>
        <p:spPr>
          <a:xfrm>
            <a:off x="11851416" y="1085186"/>
            <a:ext cx="268014" cy="304298"/>
          </a:xfrm>
          <a:prstGeom prst="rect">
            <a:avLst/>
          </a:prstGeom>
          <a:solidFill>
            <a:srgbClr val="57B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alok_60_sec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049262" y="226812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320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22222E-6 L 0.36068 2.22222E-6 " pathEditMode="relative" rAng="0" ptsTypes="AA">
                                      <p:cBhvr>
                                        <p:cTn id="6" dur="6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34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6008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audio>
              <p:cMediaNode vol="8000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57967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nálise do espectrograma: </a:t>
            </a:r>
            <a:r>
              <a:rPr lang="pt-BR" sz="2400" b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rgbClr val="529FD6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janka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mpa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mp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42" y="1512573"/>
            <a:ext cx="10948076" cy="4965682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1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" name="Conector reto 9"/>
          <p:cNvCxnSpPr/>
          <p:nvPr/>
        </p:nvCxnSpPr>
        <p:spPr>
          <a:xfrm flipV="1">
            <a:off x="1008984" y="1670230"/>
            <a:ext cx="0" cy="44152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10"/>
          <p:cNvSpPr/>
          <p:nvPr/>
        </p:nvSpPr>
        <p:spPr>
          <a:xfrm>
            <a:off x="11789979" y="1085186"/>
            <a:ext cx="268014" cy="3042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sajanka_20_sec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314386" y="231026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19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22222E-6 L 0.36068 2.22222E-6 " pathEditMode="relative" rAng="0" ptsTypes="AA">
                                      <p:cBhvr>
                                        <p:cTn id="6" dur="6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34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008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audio>
              <p:cMediaNode vol="8000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49231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nálise do espectrograma: </a:t>
            </a:r>
            <a:r>
              <a:rPr lang="pt-BR" sz="2400" b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rgbClr val="E68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ccoli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64" y="1459762"/>
            <a:ext cx="11285981" cy="5069639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1008984" y="1670230"/>
            <a:ext cx="0" cy="44152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11789979" y="1067921"/>
            <a:ext cx="268014" cy="30429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dram_20_sec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48393" y="16735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959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22222E-6 L 0.36068 2.22222E-6 " pathEditMode="relative" rAng="0" ptsTypes="AA">
                                      <p:cBhvr>
                                        <p:cTn id="6" dur="6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34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008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audio>
              <p:cMediaNode vol="8000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785201"/>
            <a:ext cx="12192000" cy="82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lguém aqui estuda ou trabalha com música?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42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791117"/>
            <a:ext cx="12192000" cy="82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Vamos contar quantos pontinhos claros cada música tem!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29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84641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espectrograma na verdade é uma matriz! E bem grande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Colchete esquerdo 22"/>
          <p:cNvSpPr/>
          <p:nvPr/>
        </p:nvSpPr>
        <p:spPr>
          <a:xfrm>
            <a:off x="1229713" y="1638428"/>
            <a:ext cx="220715" cy="4652011"/>
          </a:xfrm>
          <a:prstGeom prst="leftBracket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olchete esquerdo 23"/>
          <p:cNvSpPr/>
          <p:nvPr/>
        </p:nvSpPr>
        <p:spPr>
          <a:xfrm rot="10800000">
            <a:off x="11035864" y="1638427"/>
            <a:ext cx="214223" cy="4652011"/>
          </a:xfrm>
          <a:prstGeom prst="leftBracket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5543821" y="955589"/>
            <a:ext cx="8258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tempo</a:t>
            </a:r>
            <a:endParaRPr lang="pt-BR" dirty="0"/>
          </a:p>
        </p:txBody>
      </p:sp>
      <p:sp>
        <p:nvSpPr>
          <p:cNvPr id="26" name="Retângulo 25"/>
          <p:cNvSpPr/>
          <p:nvPr/>
        </p:nvSpPr>
        <p:spPr>
          <a:xfrm>
            <a:off x="154521" y="3683030"/>
            <a:ext cx="9412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ota (i)</a:t>
            </a:r>
            <a:endParaRPr lang="pt-BR" dirty="0"/>
          </a:p>
        </p:txBody>
      </p:sp>
      <p:sp>
        <p:nvSpPr>
          <p:cNvPr id="27" name="Retângulo de cantos arredondados 26"/>
          <p:cNvSpPr/>
          <p:nvPr/>
        </p:nvSpPr>
        <p:spPr>
          <a:xfrm>
            <a:off x="1671146" y="1685727"/>
            <a:ext cx="9144000" cy="4449402"/>
          </a:xfrm>
          <a:prstGeom prst="roundRect">
            <a:avLst>
              <a:gd name="adj" fmla="val 133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Retângulo 27"/>
          <p:cNvSpPr/>
          <p:nvPr/>
        </p:nvSpPr>
        <p:spPr>
          <a:xfrm>
            <a:off x="1833372" y="5532597"/>
            <a:ext cx="13773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ensidade</a:t>
            </a:r>
            <a:endParaRPr lang="pt-BR" dirty="0"/>
          </a:p>
        </p:txBody>
      </p:sp>
      <p:sp>
        <p:nvSpPr>
          <p:cNvPr id="29" name="Retângulo 28"/>
          <p:cNvSpPr/>
          <p:nvPr/>
        </p:nvSpPr>
        <p:spPr>
          <a:xfrm>
            <a:off x="280647" y="1594123"/>
            <a:ext cx="441146" cy="48013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84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450428" y="955589"/>
            <a:ext cx="103733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0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    .      .        .    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  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    .      .        .      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(j)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 .    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   .        .        .       .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     .      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~15 mil</a:t>
            </a:r>
            <a:endParaRPr lang="pt-BR" dirty="0"/>
          </a:p>
        </p:txBody>
      </p:sp>
      <p:sp>
        <p:nvSpPr>
          <p:cNvPr id="32" name="Retângulo 31"/>
          <p:cNvSpPr/>
          <p:nvPr/>
        </p:nvSpPr>
        <p:spPr>
          <a:xfrm>
            <a:off x="7940326" y="4674594"/>
            <a:ext cx="272382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Matriz</a:t>
            </a:r>
          </a:p>
          <a:p>
            <a:r>
              <a:rPr lang="pt-BR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(84 x 15 mil)</a:t>
            </a:r>
            <a:endParaRPr lang="pt-BR" sz="3600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10584339" y="1267097"/>
            <a:ext cx="1037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~(6 min)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4936445" y="1560500"/>
            <a:ext cx="2054528" cy="469840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CaixaDeTexto 35"/>
          <p:cNvSpPr txBox="1"/>
          <p:nvPr/>
        </p:nvSpPr>
        <p:spPr>
          <a:xfrm>
            <a:off x="4936445" y="1678900"/>
            <a:ext cx="20545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tei 1 minuto da </a:t>
            </a:r>
          </a:p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úsica para analisar</a:t>
            </a:r>
            <a:endParaRPr lang="pt-BR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4610032" y="631126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1:3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6715091" y="631126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2:3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5278522" y="3566789"/>
            <a:ext cx="141577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riz</a:t>
            </a:r>
          </a:p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4 x 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584)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003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 animBg="1"/>
      <p:bldP spid="28" grpId="0"/>
      <p:bldP spid="29" grpId="0"/>
      <p:bldP spid="31" grpId="0"/>
      <p:bldP spid="32" grpId="0"/>
      <p:bldP spid="33" grpId="0"/>
      <p:bldP spid="34" grpId="0" animBg="1"/>
      <p:bldP spid="36" grpId="0"/>
      <p:bldP spid="37" grpId="0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5264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decomposição da musica | matriz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de cantos arredondados 26"/>
          <p:cNvSpPr/>
          <p:nvPr/>
        </p:nvSpPr>
        <p:spPr>
          <a:xfrm>
            <a:off x="346829" y="1433478"/>
            <a:ext cx="7346733" cy="4604717"/>
          </a:xfrm>
          <a:prstGeom prst="roundRect">
            <a:avLst>
              <a:gd name="adj" fmla="val 722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/>
          <p:cNvSpPr txBox="1"/>
          <p:nvPr/>
        </p:nvSpPr>
        <p:spPr>
          <a:xfrm>
            <a:off x="842052" y="5554524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1:3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911043" y="5538756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2:3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Imagem 2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6" t="17327" r="74814" b="8349"/>
          <a:stretch/>
        </p:blipFill>
        <p:spPr>
          <a:xfrm>
            <a:off x="1024759" y="1949966"/>
            <a:ext cx="5312970" cy="3580540"/>
          </a:xfrm>
          <a:prstGeom prst="rect">
            <a:avLst/>
          </a:prstGeom>
        </p:spPr>
      </p:pic>
      <p:pic>
        <p:nvPicPr>
          <p:cNvPr id="40" name="Imagem 3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30" b="4595"/>
          <a:stretch/>
        </p:blipFill>
        <p:spPr>
          <a:xfrm>
            <a:off x="6677172" y="1650214"/>
            <a:ext cx="783085" cy="4210576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6319087" y="804718"/>
            <a:ext cx="13644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scala da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ensidade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007148" y="1488318"/>
            <a:ext cx="501766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or k in 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sta_musicas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B_frame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[ ] </a:t>
            </a:r>
          </a:p>
          <a:p>
            <a:pPr lvl="1"/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or j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in range(0,2584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unt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=[ ]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for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in range(0,84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rte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b_matrix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[ i ][ j ]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rte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&gt; -20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unt.append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rte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/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frame.append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len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count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)</a:t>
            </a:r>
          </a:p>
          <a:p>
            <a:pPr lvl="1"/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qtd_high_db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np.sum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DB_frame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1" r="65423"/>
          <a:stretch/>
        </p:blipFill>
        <p:spPr>
          <a:xfrm>
            <a:off x="11144409" y="1488318"/>
            <a:ext cx="770373" cy="1027873"/>
          </a:xfrm>
          <a:prstGeom prst="rect">
            <a:avLst/>
          </a:prstGeom>
        </p:spPr>
      </p:pic>
      <p:sp>
        <p:nvSpPr>
          <p:cNvPr id="42" name="CaixaDeTexto 41"/>
          <p:cNvSpPr txBox="1"/>
          <p:nvPr/>
        </p:nvSpPr>
        <p:spPr>
          <a:xfrm>
            <a:off x="873585" y="151494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5753384" y="149917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2584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CaixaDeTexto 43"/>
          <p:cNvSpPr txBox="1"/>
          <p:nvPr/>
        </p:nvSpPr>
        <p:spPr>
          <a:xfrm>
            <a:off x="427913" y="180271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427913" y="518519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84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475211" y="3534732"/>
            <a:ext cx="235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aixaDeTexto 46"/>
          <p:cNvSpPr txBox="1"/>
          <p:nvPr/>
        </p:nvSpPr>
        <p:spPr>
          <a:xfrm>
            <a:off x="3445398" y="1451876"/>
            <a:ext cx="235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j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Conector reto 5"/>
          <p:cNvCxnSpPr/>
          <p:nvPr/>
        </p:nvCxnSpPr>
        <p:spPr>
          <a:xfrm>
            <a:off x="1365203" y="1668074"/>
            <a:ext cx="18022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951117" y="1668074"/>
            <a:ext cx="18022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to 48"/>
          <p:cNvCxnSpPr/>
          <p:nvPr/>
        </p:nvCxnSpPr>
        <p:spPr>
          <a:xfrm>
            <a:off x="593192" y="2282406"/>
            <a:ext cx="0" cy="11387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593192" y="3983416"/>
            <a:ext cx="0" cy="11387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476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7931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quando gerei essa variável para todas as musicas...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ico de dispersão: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_high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57" y="1555992"/>
            <a:ext cx="1419423" cy="695422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980" y="1555992"/>
            <a:ext cx="7797036" cy="4988498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768" y="4050241"/>
            <a:ext cx="1304925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746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791117"/>
            <a:ext cx="12192000" cy="82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Vamos criar os modelos!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97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348645" y="226812"/>
            <a:ext cx="34820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construindo modelo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428700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4292931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186849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428699" y="992776"/>
            <a:ext cx="3600000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42869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ente separa a nossa base em treino e validação ...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4292930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4292930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Escolhe modelos para testar de acordo com o problema ..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8186848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/>
          <p:cNvSpPr/>
          <p:nvPr/>
        </p:nvSpPr>
        <p:spPr>
          <a:xfrm>
            <a:off x="818684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e analisa os resultados para decidir o melhor!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668959" y="1935382"/>
            <a:ext cx="33300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omo temos poucos dados, vou utilizar o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atified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10-fold p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ra avaliar a capacidade de generalização do modelo.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4455199" y="1935382"/>
            <a:ext cx="333005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Vou testar os modelos: </a:t>
            </a:r>
          </a:p>
          <a:p>
            <a:pPr>
              <a:lnSpc>
                <a:spcPct val="200000"/>
              </a:lnSpc>
            </a:pP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Linear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(LDA),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Quadratic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(QDA),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gistic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ression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aive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yes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ee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8321821" y="1935382"/>
            <a:ext cx="333005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omo as três classes estão balanceadas vou usar a métrica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curácia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(percentual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e acerto do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odelo) para comparar os resultados entre os modelos. 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97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/>
      <p:bldP spid="12" grpId="0" animBg="1"/>
      <p:bldP spid="13" grpId="0"/>
      <p:bldP spid="14" grpId="0" animBg="1"/>
      <p:bldP spid="15" grpId="0"/>
      <p:bldP spid="16" grpId="0"/>
      <p:bldP spid="17" grpId="0"/>
      <p:bldP spid="1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348645" y="226812"/>
            <a:ext cx="71769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separando treino e validação: </a:t>
            </a:r>
            <a:r>
              <a:rPr lang="pt-BR" sz="2400" b="1" i="1" dirty="0" err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ified</a:t>
            </a:r>
            <a:r>
              <a:rPr lang="pt-BR" sz="2400" b="1" i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-fold</a:t>
            </a:r>
            <a:endParaRPr lang="pt-BR" sz="2400" b="1" i="1" dirty="0">
              <a:solidFill>
                <a:schemeClr val="accent2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440715" y="3461974"/>
            <a:ext cx="684000" cy="289704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eino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1957762" y="2736961"/>
            <a:ext cx="684000" cy="1207354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1957760" y="3944315"/>
            <a:ext cx="684000" cy="1207354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35" name="Retângulo 34"/>
          <p:cNvSpPr/>
          <p:nvPr/>
        </p:nvSpPr>
        <p:spPr>
          <a:xfrm>
            <a:off x="1957760" y="5151669"/>
            <a:ext cx="684000" cy="1207354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440715" y="2736961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3440715" y="2978632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0" name="Retângulo 9"/>
          <p:cNvSpPr/>
          <p:nvPr/>
        </p:nvSpPr>
        <p:spPr>
          <a:xfrm>
            <a:off x="3440715" y="3220303"/>
            <a:ext cx="684000" cy="241672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20" name="Retângulo 19"/>
          <p:cNvSpPr/>
          <p:nvPr/>
        </p:nvSpPr>
        <p:spPr>
          <a:xfrm>
            <a:off x="428700" y="1099455"/>
            <a:ext cx="644454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428698" y="995596"/>
            <a:ext cx="6444542" cy="8490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428698" y="961229"/>
            <a:ext cx="64445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o a base em 10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ds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rantindo que exista apenas 1 amostra de cada classe em cada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validação (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ifie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-fold)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4239668" y="2736962"/>
            <a:ext cx="684000" cy="36220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4239668" y="3681841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37" name="Retângulo 36"/>
          <p:cNvSpPr/>
          <p:nvPr/>
        </p:nvSpPr>
        <p:spPr>
          <a:xfrm>
            <a:off x="4239668" y="3923512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38" name="Retângulo 37"/>
          <p:cNvSpPr/>
          <p:nvPr/>
        </p:nvSpPr>
        <p:spPr>
          <a:xfrm>
            <a:off x="4239668" y="4165183"/>
            <a:ext cx="684000" cy="241672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63" name="Retângulo 62"/>
          <p:cNvSpPr/>
          <p:nvPr/>
        </p:nvSpPr>
        <p:spPr>
          <a:xfrm>
            <a:off x="5626099" y="2736962"/>
            <a:ext cx="684000" cy="362206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626099" y="5647801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0</a:t>
            </a:r>
            <a:endParaRPr lang="pt-BR" dirty="0"/>
          </a:p>
        </p:txBody>
      </p:sp>
      <p:sp>
        <p:nvSpPr>
          <p:cNvPr id="65" name="Retângulo 64"/>
          <p:cNvSpPr/>
          <p:nvPr/>
        </p:nvSpPr>
        <p:spPr>
          <a:xfrm>
            <a:off x="5626099" y="5889472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0</a:t>
            </a:r>
            <a:endParaRPr lang="pt-BR" dirty="0"/>
          </a:p>
        </p:txBody>
      </p:sp>
      <p:sp>
        <p:nvSpPr>
          <p:cNvPr id="66" name="Retângulo 65"/>
          <p:cNvSpPr/>
          <p:nvPr/>
        </p:nvSpPr>
        <p:spPr>
          <a:xfrm>
            <a:off x="5626099" y="6131143"/>
            <a:ext cx="684000" cy="241672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0</a:t>
            </a:r>
            <a:endParaRPr lang="pt-BR" dirty="0"/>
          </a:p>
        </p:txBody>
      </p:sp>
      <p:sp>
        <p:nvSpPr>
          <p:cNvPr id="67" name="Retângulo 66"/>
          <p:cNvSpPr/>
          <p:nvPr/>
        </p:nvSpPr>
        <p:spPr>
          <a:xfrm>
            <a:off x="1957762" y="2736961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68" name="Retângulo 67"/>
          <p:cNvSpPr/>
          <p:nvPr/>
        </p:nvSpPr>
        <p:spPr>
          <a:xfrm>
            <a:off x="1957762" y="2993399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69" name="Retângulo 68"/>
          <p:cNvSpPr/>
          <p:nvPr/>
        </p:nvSpPr>
        <p:spPr>
          <a:xfrm>
            <a:off x="1957762" y="3210791"/>
            <a:ext cx="684000" cy="241671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73" name="Retângulo 72"/>
          <p:cNvSpPr/>
          <p:nvPr/>
        </p:nvSpPr>
        <p:spPr>
          <a:xfrm>
            <a:off x="1957762" y="3938059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1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4" name="Retângulo 73"/>
          <p:cNvSpPr/>
          <p:nvPr/>
        </p:nvSpPr>
        <p:spPr>
          <a:xfrm>
            <a:off x="1957762" y="4194497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2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5" name="Retângulo 74"/>
          <p:cNvSpPr/>
          <p:nvPr/>
        </p:nvSpPr>
        <p:spPr>
          <a:xfrm>
            <a:off x="1957762" y="4411889"/>
            <a:ext cx="684000" cy="241671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3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6" name="Retângulo 75"/>
          <p:cNvSpPr/>
          <p:nvPr/>
        </p:nvSpPr>
        <p:spPr>
          <a:xfrm>
            <a:off x="1957762" y="5145413"/>
            <a:ext cx="684000" cy="241671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1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7" name="Retângulo 76"/>
          <p:cNvSpPr/>
          <p:nvPr/>
        </p:nvSpPr>
        <p:spPr>
          <a:xfrm>
            <a:off x="1957762" y="5401851"/>
            <a:ext cx="684000" cy="241671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2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78" name="Retângulo 77"/>
          <p:cNvSpPr/>
          <p:nvPr/>
        </p:nvSpPr>
        <p:spPr>
          <a:xfrm>
            <a:off x="1957762" y="5619243"/>
            <a:ext cx="684000" cy="241671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3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5137724" y="4547992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...</a:t>
            </a:r>
            <a:endParaRPr lang="pt-BR" dirty="0"/>
          </a:p>
        </p:txBody>
      </p:sp>
      <p:sp>
        <p:nvSpPr>
          <p:cNvPr id="7" name="Chave direita 6"/>
          <p:cNvSpPr/>
          <p:nvPr/>
        </p:nvSpPr>
        <p:spPr>
          <a:xfrm rot="16200000">
            <a:off x="4721998" y="1037944"/>
            <a:ext cx="249429" cy="2926775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CaixaDeTexto 18"/>
          <p:cNvSpPr txBox="1"/>
          <p:nvPr/>
        </p:nvSpPr>
        <p:spPr>
          <a:xfrm>
            <a:off x="2193813" y="3451697"/>
            <a:ext cx="2167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chemeClr val="bg1"/>
                </a:solidFill>
              </a:rPr>
              <a:t>.</a:t>
            </a:r>
          </a:p>
          <a:p>
            <a:r>
              <a:rPr lang="pt-BR" sz="10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9" name="CaixaDeTexto 78"/>
          <p:cNvSpPr txBox="1"/>
          <p:nvPr/>
        </p:nvSpPr>
        <p:spPr>
          <a:xfrm>
            <a:off x="2193813" y="4636607"/>
            <a:ext cx="2167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chemeClr val="bg1"/>
                </a:solidFill>
              </a:rPr>
              <a:t>.</a:t>
            </a:r>
          </a:p>
          <a:p>
            <a:r>
              <a:rPr lang="pt-BR" sz="10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0" name="CaixaDeTexto 79"/>
          <p:cNvSpPr txBox="1"/>
          <p:nvPr/>
        </p:nvSpPr>
        <p:spPr>
          <a:xfrm>
            <a:off x="2193813" y="5902049"/>
            <a:ext cx="2167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chemeClr val="bg1"/>
                </a:solidFill>
              </a:rPr>
              <a:t>.</a:t>
            </a:r>
          </a:p>
          <a:p>
            <a:r>
              <a:rPr lang="pt-BR" sz="10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1" name="Chave direita 80"/>
          <p:cNvSpPr/>
          <p:nvPr/>
        </p:nvSpPr>
        <p:spPr>
          <a:xfrm rot="10800000">
            <a:off x="1487795" y="2681841"/>
            <a:ext cx="255909" cy="3715834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2" name="CaixaDeTexto 81"/>
          <p:cNvSpPr txBox="1"/>
          <p:nvPr/>
        </p:nvSpPr>
        <p:spPr>
          <a:xfrm>
            <a:off x="4310574" y="1976806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ld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CaixaDeTexto 82"/>
          <p:cNvSpPr txBox="1"/>
          <p:nvPr/>
        </p:nvSpPr>
        <p:spPr>
          <a:xfrm>
            <a:off x="555325" y="4186270"/>
            <a:ext cx="10310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úsica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eta para a direita 84"/>
          <p:cNvSpPr/>
          <p:nvPr/>
        </p:nvSpPr>
        <p:spPr>
          <a:xfrm>
            <a:off x="2925369" y="4171655"/>
            <a:ext cx="292210" cy="703209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6" name="Retângulo 85"/>
          <p:cNvSpPr/>
          <p:nvPr/>
        </p:nvSpPr>
        <p:spPr>
          <a:xfrm>
            <a:off x="7096376" y="1099455"/>
            <a:ext cx="4836544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/>
          <p:cNvSpPr/>
          <p:nvPr/>
        </p:nvSpPr>
        <p:spPr>
          <a:xfrm>
            <a:off x="7096376" y="995596"/>
            <a:ext cx="4836544" cy="8490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8" name="Retângulo 87"/>
          <p:cNvSpPr/>
          <p:nvPr/>
        </p:nvSpPr>
        <p:spPr>
          <a:xfrm>
            <a:off x="7096376" y="988147"/>
            <a:ext cx="48365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ora 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eino 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valido 10 vezes (1 vez em cada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cada modelo! 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so a média das acurácias de cada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0" name="Retângulo 89"/>
          <p:cNvSpPr/>
          <p:nvPr/>
        </p:nvSpPr>
        <p:spPr>
          <a:xfrm>
            <a:off x="7373911" y="2741151"/>
            <a:ext cx="4528529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1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2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3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ld: 4 of 10 =&gt;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= 1.0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l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5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1.0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6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7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8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6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9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1.0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ld: 10 of 10 =&gt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1.0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ean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: 0.80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D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uracy_scor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: 0.16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CaixaDeTexto 91"/>
          <p:cNvSpPr txBox="1"/>
          <p:nvPr/>
        </p:nvSpPr>
        <p:spPr>
          <a:xfrm>
            <a:off x="7373911" y="2131999"/>
            <a:ext cx="43140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Modelo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Quadratic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83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9" grpId="0" animBg="1"/>
      <p:bldP spid="10" grpId="0" animBg="1"/>
      <p:bldP spid="32" grpId="0" animBg="1"/>
      <p:bldP spid="36" grpId="0" animBg="1"/>
      <p:bldP spid="37" grpId="0" animBg="1"/>
      <p:bldP spid="38" grpId="0" animBg="1"/>
      <p:bldP spid="63" grpId="0" animBg="1"/>
      <p:bldP spid="64" grpId="0" animBg="1"/>
      <p:bldP spid="65" grpId="0" animBg="1"/>
      <p:bldP spid="66" grpId="0" animBg="1"/>
      <p:bldP spid="5" grpId="0"/>
      <p:bldP spid="7" grpId="0" animBg="1"/>
      <p:bldP spid="82" grpId="0"/>
      <p:bldP spid="85" grpId="0" animBg="1"/>
      <p:bldP spid="86" grpId="0" animBg="1"/>
      <p:bldP spid="87" grpId="0" animBg="1"/>
      <p:bldP spid="88" grpId="0"/>
      <p:bldP spid="90" grpId="0"/>
      <p:bldP spid="9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348645" y="226812"/>
            <a:ext cx="62696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comparando os resultados dos modelos</a:t>
            </a:r>
            <a:endParaRPr lang="pt-BR" sz="2400" b="1" i="1" dirty="0">
              <a:solidFill>
                <a:schemeClr val="accent2"/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428699" y="992775"/>
            <a:ext cx="4167741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/>
          <p:cNvSpPr/>
          <p:nvPr/>
        </p:nvSpPr>
        <p:spPr>
          <a:xfrm>
            <a:off x="428698" y="992776"/>
            <a:ext cx="4167742" cy="5769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428698" y="976469"/>
            <a:ext cx="39299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mos agora comparar a acurácia de cada modelo.. 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6" name="Retângulo 85"/>
          <p:cNvSpPr/>
          <p:nvPr/>
        </p:nvSpPr>
        <p:spPr>
          <a:xfrm>
            <a:off x="4785361" y="992775"/>
            <a:ext cx="714756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/>
          <p:cNvSpPr/>
          <p:nvPr/>
        </p:nvSpPr>
        <p:spPr>
          <a:xfrm>
            <a:off x="4785360" y="992776"/>
            <a:ext cx="7147560" cy="5769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8" name="Retângulo 87"/>
          <p:cNvSpPr/>
          <p:nvPr/>
        </p:nvSpPr>
        <p:spPr>
          <a:xfrm>
            <a:off x="4785359" y="992774"/>
            <a:ext cx="71475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dar uma olhada na matriz de confusão, para saber se existe alguma concentração de erro em uma classe específica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729919" y="2163982"/>
            <a:ext cx="222664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QDA</a:t>
            </a:r>
          </a:p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LDA</a:t>
            </a:r>
          </a:p>
          <a:p>
            <a:pPr>
              <a:lnSpc>
                <a:spcPct val="30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aive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yes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30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gistic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ression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300000"/>
              </a:lnSpc>
            </a:pP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ee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3394939" y="2163982"/>
            <a:ext cx="107038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93%</a:t>
            </a:r>
          </a:p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83%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>
            <a:off x="684199" y="2392680"/>
            <a:ext cx="34306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ixaDeTexto 48"/>
          <p:cNvSpPr txBox="1"/>
          <p:nvPr/>
        </p:nvSpPr>
        <p:spPr>
          <a:xfrm>
            <a:off x="638479" y="1880662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odelo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3154680" y="1880662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curáci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474418" y="3114427"/>
            <a:ext cx="3838502" cy="823753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682" y="3217139"/>
            <a:ext cx="608758" cy="608758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925" y="1569720"/>
            <a:ext cx="1419423" cy="695422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879" y="1725604"/>
            <a:ext cx="5334744" cy="4801270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4917928" y="1469348"/>
            <a:ext cx="1454244" cy="7681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3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odelo LD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4012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3" grpId="0" animBg="1"/>
      <p:bldP spid="24" grpId="0"/>
      <p:bldP spid="86" grpId="0" animBg="1"/>
      <p:bldP spid="87" grpId="0" animBg="1"/>
      <p:bldP spid="88" grpId="0"/>
      <p:bldP spid="45" grpId="0"/>
      <p:bldP spid="46" grpId="0"/>
      <p:bldP spid="49" grpId="0"/>
      <p:bldP spid="50" grpId="0"/>
      <p:bldP spid="12" grpId="0" animBg="1"/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8209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fronteira de decisão do modelo LDA 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3% de acurácia!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ico de dispersão: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_high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57" y="1555992"/>
            <a:ext cx="1419423" cy="695422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980" y="1555992"/>
            <a:ext cx="7797036" cy="4988498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2971800" y="2251414"/>
            <a:ext cx="2601698" cy="1795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 flipV="1">
            <a:off x="4907280" y="4046880"/>
            <a:ext cx="666218" cy="167051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 flipV="1">
            <a:off x="5579160" y="3019425"/>
            <a:ext cx="3555315" cy="102745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5118885" y="1826043"/>
            <a:ext cx="16401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 err="1" smtClean="0">
                <a:solidFill>
                  <a:srgbClr val="529F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</a:t>
            </a:r>
            <a:endParaRPr lang="pt-BR" sz="2400" b="1" dirty="0">
              <a:solidFill>
                <a:srgbClr val="529F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7317097" y="3935125"/>
            <a:ext cx="7665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 err="1" smtClean="0">
                <a:solidFill>
                  <a:srgbClr val="E681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</a:t>
            </a:r>
            <a:endParaRPr lang="pt-BR" sz="2400" b="1" dirty="0">
              <a:solidFill>
                <a:srgbClr val="E6819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2990253" y="3916253"/>
            <a:ext cx="155202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 err="1" smtClean="0">
                <a:solidFill>
                  <a:srgbClr val="57B4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lian</a:t>
            </a:r>
            <a:endParaRPr lang="pt-BR" sz="2400" b="1" dirty="0" smtClean="0">
              <a:solidFill>
                <a:srgbClr val="57B4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400" b="1" dirty="0" err="1" smtClean="0">
                <a:solidFill>
                  <a:srgbClr val="57B43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s</a:t>
            </a:r>
            <a:endParaRPr lang="pt-BR" sz="2400" b="1" dirty="0">
              <a:solidFill>
                <a:srgbClr val="57B43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875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15" grpId="0" animBg="1"/>
      <p:bldP spid="7" grpId="0"/>
      <p:bldP spid="23" grpId="0"/>
      <p:bldP spid="2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872828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mos testar? </a:t>
            </a:r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u colocar os primeiros 40s da música ...</a:t>
            </a:r>
          </a:p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tem adivinhar o estilo !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243948" y="5433621"/>
            <a:ext cx="9840004" cy="4349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hap_comeco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628570" y="1177528"/>
            <a:ext cx="609600" cy="60960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11" y="1832444"/>
            <a:ext cx="11065245" cy="4959005"/>
          </a:xfrm>
          <a:prstGeom prst="rect">
            <a:avLst/>
          </a:prstGeom>
        </p:spPr>
      </p:pic>
      <p:sp>
        <p:nvSpPr>
          <p:cNvPr id="10" name="Retângulo 9"/>
          <p:cNvSpPr/>
          <p:nvPr/>
        </p:nvSpPr>
        <p:spPr>
          <a:xfrm>
            <a:off x="6502400" y="1291772"/>
            <a:ext cx="3338286" cy="5384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778411" y="1291772"/>
            <a:ext cx="2690503" cy="5384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6502400" y="1274955"/>
            <a:ext cx="3338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as o modelo analisou aqui!</a:t>
            </a:r>
          </a:p>
          <a:p>
            <a:pPr algn="ctr"/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1:30 até 2:30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78410" y="1420098"/>
            <a:ext cx="2690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Vocês ouviram isso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9975246" y="548906"/>
            <a:ext cx="21296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= 143.55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b_high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= 46.118</a:t>
            </a:r>
          </a:p>
        </p:txBody>
      </p:sp>
      <p:pic>
        <p:nvPicPr>
          <p:cNvPr id="16" name="menumas_fim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9231086" y="548906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39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30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1" fill="hold">
                      <p:stCondLst>
                        <p:cond delay="0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4000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audio>
              <p:cMediaNode vol="80000">
                <p:cTn id="3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3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  <p:bldLst>
      <p:bldP spid="10" grpId="0" animBg="1"/>
      <p:bldP spid="11" grpId="0" animBg="1"/>
      <p:bldP spid="12" grpId="0"/>
      <p:bldP spid="13" grpId="0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348645" y="226812"/>
            <a:ext cx="30748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o que iremos fazer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472487" y="3056709"/>
            <a:ext cx="449698" cy="458026"/>
          </a:xfrm>
          <a:prstGeom prst="rect">
            <a:avLst/>
          </a:prstGeom>
          <a:solidFill>
            <a:srgbClr val="E68193"/>
          </a:solidFill>
          <a:ln w="38100">
            <a:solidFill>
              <a:srgbClr val="E68193"/>
            </a:solidFill>
          </a:ln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472487" y="4232365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177881" y="3056709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276546" y="3644537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177881" y="4232365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276546" y="4807130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20" name="Imagem 1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883275" y="3056709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981940" y="3644537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22" name="Imagem 21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883275" y="4232365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23" name="Imagem 22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981940" y="4807130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27" name="Imagem 26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687334" y="3644537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29" name="Imagem 28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687334" y="4807130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45" name="Imagem 44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472487" y="5394958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46" name="Imagem 45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177881" y="5394958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47" name="Imagem 46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883275" y="5394958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50" name="Imagem 4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276546" y="2468881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51" name="Imagem 50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981940" y="2468881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52" name="Imagem 51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2687334" y="2468881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sp>
        <p:nvSpPr>
          <p:cNvPr id="53" name="Retângulo 52"/>
          <p:cNvSpPr/>
          <p:nvPr/>
        </p:nvSpPr>
        <p:spPr>
          <a:xfrm>
            <a:off x="404947" y="992775"/>
            <a:ext cx="3264047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1" name="Retângulo 80"/>
          <p:cNvSpPr/>
          <p:nvPr/>
        </p:nvSpPr>
        <p:spPr>
          <a:xfrm>
            <a:off x="3949554" y="992775"/>
            <a:ext cx="3574649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2" name="Retângulo 81"/>
          <p:cNvSpPr/>
          <p:nvPr/>
        </p:nvSpPr>
        <p:spPr>
          <a:xfrm>
            <a:off x="7768483" y="992775"/>
            <a:ext cx="3947267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3" name="Retângulo 82"/>
          <p:cNvSpPr/>
          <p:nvPr/>
        </p:nvSpPr>
        <p:spPr>
          <a:xfrm>
            <a:off x="404947" y="992776"/>
            <a:ext cx="3264047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404946" y="1052669"/>
            <a:ext cx="32640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do um conjunto de músicas que eu gosto de ouvir ..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1" name="Retângulo 90"/>
          <p:cNvSpPr/>
          <p:nvPr/>
        </p:nvSpPr>
        <p:spPr>
          <a:xfrm>
            <a:off x="3949554" y="992776"/>
            <a:ext cx="3574648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2" name="Retângulo 91"/>
          <p:cNvSpPr/>
          <p:nvPr/>
        </p:nvSpPr>
        <p:spPr>
          <a:xfrm>
            <a:off x="3949553" y="1052669"/>
            <a:ext cx="3574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vamos utilizar técnicas de ciência de dados para ..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3" name="Retângulo 92"/>
          <p:cNvSpPr/>
          <p:nvPr/>
        </p:nvSpPr>
        <p:spPr>
          <a:xfrm>
            <a:off x="7768484" y="992776"/>
            <a:ext cx="3947267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4" name="Retângulo 93"/>
          <p:cNvSpPr/>
          <p:nvPr/>
        </p:nvSpPr>
        <p:spPr>
          <a:xfrm>
            <a:off x="7768484" y="1052669"/>
            <a:ext cx="39472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sifica-las de acordo com seu estilo!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95" name="Imagem 94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45789" y="2710129"/>
            <a:ext cx="449698" cy="458026"/>
          </a:xfrm>
          <a:prstGeom prst="rect">
            <a:avLst/>
          </a:prstGeom>
          <a:solidFill>
            <a:srgbClr val="E68193"/>
          </a:solidFill>
          <a:ln w="38100">
            <a:solidFill>
              <a:srgbClr val="58A141"/>
            </a:solidFill>
          </a:ln>
        </p:spPr>
      </p:pic>
      <p:pic>
        <p:nvPicPr>
          <p:cNvPr id="96" name="Imagem 95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51183" y="2710129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97" name="Imagem 96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56577" y="2710129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98" name="Imagem 97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45789" y="2122301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99" name="Imagem 98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51183" y="2122301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100" name="Imagem 9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56577" y="2122301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119" name="Imagem 118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36327" y="4216468"/>
            <a:ext cx="449698" cy="458026"/>
          </a:xfrm>
          <a:prstGeom prst="rect">
            <a:avLst/>
          </a:prstGeom>
          <a:solidFill>
            <a:srgbClr val="E68193"/>
          </a:solidFill>
          <a:ln w="38100">
            <a:solidFill>
              <a:srgbClr val="E68193"/>
            </a:solidFill>
          </a:ln>
        </p:spPr>
      </p:pic>
      <p:pic>
        <p:nvPicPr>
          <p:cNvPr id="120" name="Imagem 11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41721" y="4216468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21" name="Imagem 120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47115" y="4216468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22" name="Imagem 121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36327" y="3628640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23" name="Imagem 122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41721" y="3628640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24" name="Imagem 123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47115" y="3628640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25" name="Imagem 124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36327" y="5761996"/>
            <a:ext cx="449698" cy="458026"/>
          </a:xfrm>
          <a:prstGeom prst="rect">
            <a:avLst/>
          </a:prstGeom>
          <a:solidFill>
            <a:srgbClr val="E68193"/>
          </a:solidFill>
          <a:ln w="38100">
            <a:solidFill>
              <a:srgbClr val="529FD6"/>
            </a:solidFill>
          </a:ln>
        </p:spPr>
      </p:pic>
      <p:pic>
        <p:nvPicPr>
          <p:cNvPr id="126" name="Imagem 125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41721" y="5761996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127" name="Imagem 126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47115" y="5761996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128" name="Imagem 127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9336327" y="5174168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129" name="Imagem 128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041721" y="5174168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pic>
        <p:nvPicPr>
          <p:cNvPr id="130" name="Imagem 12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10747115" y="5174168"/>
            <a:ext cx="449698" cy="458026"/>
          </a:xfrm>
          <a:prstGeom prst="rect">
            <a:avLst/>
          </a:prstGeom>
          <a:ln w="38100">
            <a:solidFill>
              <a:srgbClr val="529FD6"/>
            </a:solidFill>
          </a:ln>
        </p:spPr>
      </p:pic>
      <p:sp>
        <p:nvSpPr>
          <p:cNvPr id="131" name="CaixaDeTexto 130"/>
          <p:cNvSpPr txBox="1"/>
          <p:nvPr/>
        </p:nvSpPr>
        <p:spPr>
          <a:xfrm>
            <a:off x="8151897" y="2477778"/>
            <a:ext cx="954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stilo 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CaixaDeTexto 132"/>
          <p:cNvSpPr txBox="1"/>
          <p:nvPr/>
        </p:nvSpPr>
        <p:spPr>
          <a:xfrm>
            <a:off x="8151897" y="3950966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stilo B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CaixaDeTexto 133"/>
          <p:cNvSpPr txBox="1"/>
          <p:nvPr/>
        </p:nvSpPr>
        <p:spPr>
          <a:xfrm>
            <a:off x="8146334" y="5486717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stilo C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tângulo 134"/>
          <p:cNvSpPr/>
          <p:nvPr/>
        </p:nvSpPr>
        <p:spPr>
          <a:xfrm>
            <a:off x="7955277" y="1940246"/>
            <a:ext cx="3564533" cy="1384665"/>
          </a:xfrm>
          <a:prstGeom prst="rect">
            <a:avLst/>
          </a:prstGeom>
          <a:noFill/>
          <a:ln w="38100">
            <a:solidFill>
              <a:srgbClr val="58A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6" name="Retângulo 135"/>
          <p:cNvSpPr/>
          <p:nvPr/>
        </p:nvSpPr>
        <p:spPr>
          <a:xfrm>
            <a:off x="7955277" y="3467641"/>
            <a:ext cx="3564533" cy="1384665"/>
          </a:xfrm>
          <a:prstGeom prst="rect">
            <a:avLst/>
          </a:prstGeom>
          <a:noFill/>
          <a:ln w="38100">
            <a:solidFill>
              <a:srgbClr val="E681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8" name="Retângulo 137"/>
          <p:cNvSpPr/>
          <p:nvPr/>
        </p:nvSpPr>
        <p:spPr>
          <a:xfrm>
            <a:off x="7955277" y="4995036"/>
            <a:ext cx="3564533" cy="1384665"/>
          </a:xfrm>
          <a:prstGeom prst="rect">
            <a:avLst/>
          </a:prstGeom>
          <a:noFill/>
          <a:ln w="38100">
            <a:solidFill>
              <a:srgbClr val="529F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9" name="Imagem 138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766120" y="3056709"/>
            <a:ext cx="449698" cy="458026"/>
          </a:xfrm>
          <a:prstGeom prst="rect">
            <a:avLst/>
          </a:prstGeom>
          <a:solidFill>
            <a:srgbClr val="E68193"/>
          </a:solidFill>
          <a:ln w="38100">
            <a:solidFill>
              <a:srgbClr val="E68193"/>
            </a:solidFill>
          </a:ln>
        </p:spPr>
      </p:pic>
      <p:pic>
        <p:nvPicPr>
          <p:cNvPr id="140" name="Imagem 139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766120" y="4232365"/>
            <a:ext cx="449698" cy="458026"/>
          </a:xfrm>
          <a:prstGeom prst="rect">
            <a:avLst/>
          </a:prstGeom>
          <a:ln w="38100">
            <a:solidFill>
              <a:srgbClr val="E68193"/>
            </a:solidFill>
          </a:ln>
        </p:spPr>
      </p:pic>
      <p:pic>
        <p:nvPicPr>
          <p:cNvPr id="141" name="Imagem 140"/>
          <p:cNvPicPr>
            <a:picLocks noChangeAspect="1"/>
          </p:cNvPicPr>
          <p:nvPr/>
        </p:nvPicPr>
        <p:blipFill rotWithShape="1">
          <a:blip r:embed="rId2"/>
          <a:srcRect l="20398" t="9057" r="18899" b="17711"/>
          <a:stretch/>
        </p:blipFill>
        <p:spPr>
          <a:xfrm>
            <a:off x="766120" y="5394958"/>
            <a:ext cx="449698" cy="458026"/>
          </a:xfrm>
          <a:prstGeom prst="rect">
            <a:avLst/>
          </a:prstGeom>
          <a:ln w="38100">
            <a:solidFill>
              <a:srgbClr val="58A141"/>
            </a:solidFill>
          </a:ln>
        </p:spPr>
      </p:pic>
      <p:pic>
        <p:nvPicPr>
          <p:cNvPr id="151" name="Imagem 15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2607" y="3644537"/>
            <a:ext cx="853331" cy="972807"/>
          </a:xfrm>
          <a:prstGeom prst="rect">
            <a:avLst/>
          </a:prstGeom>
        </p:spPr>
      </p:pic>
      <p:pic>
        <p:nvPicPr>
          <p:cNvPr id="154" name="Imagem 15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2607" y="5137385"/>
            <a:ext cx="884105" cy="884105"/>
          </a:xfrm>
          <a:prstGeom prst="rect">
            <a:avLst/>
          </a:prstGeom>
        </p:spPr>
      </p:pic>
      <p:pic>
        <p:nvPicPr>
          <p:cNvPr id="155" name="Imagem 15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651" y="2236231"/>
            <a:ext cx="848105" cy="848105"/>
          </a:xfrm>
          <a:prstGeom prst="rect">
            <a:avLst/>
          </a:prstGeom>
        </p:spPr>
      </p:pic>
      <p:sp>
        <p:nvSpPr>
          <p:cNvPr id="156" name="Retângulo 155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7" name="Retângulo 156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8" name="Retângulo 157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CaixaDeTexto 64"/>
          <p:cNvSpPr txBox="1"/>
          <p:nvPr/>
        </p:nvSpPr>
        <p:spPr>
          <a:xfrm>
            <a:off x="5670718" y="3761949"/>
            <a:ext cx="13260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nálise de 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dado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CaixaDeTexto 65"/>
          <p:cNvSpPr txBox="1"/>
          <p:nvPr/>
        </p:nvSpPr>
        <p:spPr>
          <a:xfrm>
            <a:off x="5670718" y="5238562"/>
            <a:ext cx="15824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odelagem e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validação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CaixaDeTexto 66"/>
          <p:cNvSpPr txBox="1"/>
          <p:nvPr/>
        </p:nvSpPr>
        <p:spPr>
          <a:xfrm>
            <a:off x="5670718" y="2195625"/>
            <a:ext cx="135165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xtração e 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riação de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variávei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109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81" grpId="0" animBg="1"/>
      <p:bldP spid="82" grpId="0" animBg="1"/>
      <p:bldP spid="83" grpId="0" animBg="1"/>
      <p:bldP spid="54" grpId="0"/>
      <p:bldP spid="91" grpId="0" animBg="1"/>
      <p:bldP spid="92" grpId="0"/>
      <p:bldP spid="93" grpId="0" animBg="1"/>
      <p:bldP spid="94" grpId="0"/>
      <p:bldP spid="131" grpId="0"/>
      <p:bldP spid="133" grpId="0"/>
      <p:bldP spid="134" grpId="0"/>
      <p:bldP spid="135" grpId="0" animBg="1"/>
      <p:bldP spid="136" grpId="0" animBg="1"/>
      <p:bldP spid="138" grpId="0" animBg="1"/>
      <p:bldP spid="65" grpId="0"/>
      <p:bldP spid="66" grpId="0"/>
      <p:bldP spid="6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64411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fronteira de decisão do modelo campeão!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11301746" cy="4441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7" y="1052669"/>
            <a:ext cx="7822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ico de dispersão: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_high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11301746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57" y="1555992"/>
            <a:ext cx="1419423" cy="695422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877" y="1555992"/>
            <a:ext cx="7797036" cy="4988498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2169697" y="2251414"/>
            <a:ext cx="2601698" cy="1795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 flipV="1">
            <a:off x="4105177" y="4046880"/>
            <a:ext cx="666218" cy="167051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 flipV="1">
            <a:off x="4777057" y="3019425"/>
            <a:ext cx="3555315" cy="102745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/>
          <p:cNvSpPr/>
          <p:nvPr/>
        </p:nvSpPr>
        <p:spPr>
          <a:xfrm>
            <a:off x="5301850" y="1556695"/>
            <a:ext cx="216000" cy="216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de seta reta 13"/>
          <p:cNvCxnSpPr/>
          <p:nvPr/>
        </p:nvCxnSpPr>
        <p:spPr>
          <a:xfrm>
            <a:off x="5043980" y="1615699"/>
            <a:ext cx="150431" cy="2409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ipse 15"/>
          <p:cNvSpPr/>
          <p:nvPr/>
        </p:nvSpPr>
        <p:spPr>
          <a:xfrm>
            <a:off x="5301850" y="1556695"/>
            <a:ext cx="216000" cy="216000"/>
          </a:xfrm>
          <a:prstGeom prst="ellipse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860728" y="4451436"/>
            <a:ext cx="32512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numas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ppiness</a:t>
            </a:r>
            <a:endParaRPr lang="pt-B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143.55 </a:t>
            </a:r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endParaRPr lang="pt-B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b_high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46.118</a:t>
            </a:r>
            <a:endParaRPr lang="pt-B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917993" y="1789748"/>
            <a:ext cx="237436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rgbClr val="529F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 !!</a:t>
            </a:r>
            <a:endParaRPr lang="pt-BR" sz="2400" b="1" dirty="0">
              <a:solidFill>
                <a:srgbClr val="529F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70" y="2784913"/>
            <a:ext cx="2388090" cy="1604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918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6" grpId="0" animBg="1"/>
      <p:bldP spid="3" grpId="0"/>
      <p:bldP spid="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89133" cy="6858000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6222274" y="1646386"/>
            <a:ext cx="5799909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Muito obrigado!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gkendi@gmail.com</a:t>
            </a:r>
            <a:endParaRPr lang="pt-B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Quem quiser ver os códigos e tudo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is, me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nda um e-mail que eu compartilho!</a:t>
            </a:r>
          </a:p>
          <a:p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té o final da semana eu </a:t>
            </a:r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bm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vou subir no </a:t>
            </a:r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it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e deixar público!</a:t>
            </a:r>
          </a:p>
          <a:p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github.com/kendiwi/meetup_ZUP</a:t>
            </a: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583" y="4952012"/>
            <a:ext cx="434438" cy="434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769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348645" y="226812"/>
            <a:ext cx="30764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como iremos fazer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Retângulo 52"/>
          <p:cNvSpPr/>
          <p:nvPr/>
        </p:nvSpPr>
        <p:spPr>
          <a:xfrm>
            <a:off x="404948" y="992775"/>
            <a:ext cx="3235674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1" name="Retângulo 80"/>
          <p:cNvSpPr/>
          <p:nvPr/>
        </p:nvSpPr>
        <p:spPr>
          <a:xfrm>
            <a:off x="3853545" y="992775"/>
            <a:ext cx="3954128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2" name="Retângulo 81"/>
          <p:cNvSpPr/>
          <p:nvPr/>
        </p:nvSpPr>
        <p:spPr>
          <a:xfrm>
            <a:off x="8020595" y="992775"/>
            <a:ext cx="3845949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3" name="Retângulo 82"/>
          <p:cNvSpPr/>
          <p:nvPr/>
        </p:nvSpPr>
        <p:spPr>
          <a:xfrm>
            <a:off x="404947" y="992776"/>
            <a:ext cx="3235675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" name="Retângulo 53"/>
          <p:cNvSpPr/>
          <p:nvPr/>
        </p:nvSpPr>
        <p:spPr>
          <a:xfrm>
            <a:off x="404946" y="1052669"/>
            <a:ext cx="30714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mos extrair algumas informações das músicas ..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1" name="Retângulo 90"/>
          <p:cNvSpPr/>
          <p:nvPr/>
        </p:nvSpPr>
        <p:spPr>
          <a:xfrm>
            <a:off x="3853544" y="992776"/>
            <a:ext cx="3954127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2" name="Retângulo 91"/>
          <p:cNvSpPr/>
          <p:nvPr/>
        </p:nvSpPr>
        <p:spPr>
          <a:xfrm>
            <a:off x="3853544" y="1052669"/>
            <a:ext cx="39541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para conseguir estudar as diferenças entre os estilos ...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93" name="Retângulo 92"/>
          <p:cNvSpPr/>
          <p:nvPr/>
        </p:nvSpPr>
        <p:spPr>
          <a:xfrm>
            <a:off x="8020594" y="992776"/>
            <a:ext cx="384595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4" name="Retângulo 93"/>
          <p:cNvSpPr/>
          <p:nvPr/>
        </p:nvSpPr>
        <p:spPr>
          <a:xfrm>
            <a:off x="8020594" y="1052669"/>
            <a:ext cx="3845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E então programar e testar alguns modelos!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62" name="CaixaDeTexto 61"/>
          <p:cNvSpPr txBox="1"/>
          <p:nvPr/>
        </p:nvSpPr>
        <p:spPr>
          <a:xfrm>
            <a:off x="679867" y="2103188"/>
            <a:ext cx="268583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Variáveis: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Duração da música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Batidas por minuto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ensidade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oeficiente de variação de energia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24733" t="21875" r="35309" b="7767"/>
          <a:stretch/>
        </p:blipFill>
        <p:spPr>
          <a:xfrm>
            <a:off x="3892734" y="2377068"/>
            <a:ext cx="3884240" cy="3845203"/>
          </a:xfrm>
          <a:prstGeom prst="rect">
            <a:avLst/>
          </a:prstGeom>
        </p:spPr>
      </p:pic>
      <p:sp>
        <p:nvSpPr>
          <p:cNvPr id="4" name="Retângulo 3"/>
          <p:cNvSpPr/>
          <p:nvPr/>
        </p:nvSpPr>
        <p:spPr>
          <a:xfrm>
            <a:off x="8291478" y="2103188"/>
            <a:ext cx="330418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Modelos testados:</a:t>
            </a:r>
          </a:p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Linear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(LDA),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Quadratic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iscriminan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(QDA),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Logistic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Regression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Naiv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Baye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tre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3890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81" grpId="0" animBg="1"/>
      <p:bldP spid="82" grpId="0" animBg="1"/>
      <p:bldP spid="83" grpId="0" animBg="1"/>
      <p:bldP spid="54" grpId="0"/>
      <p:bldP spid="91" grpId="0" animBg="1"/>
      <p:bldP spid="92" grpId="0"/>
      <p:bldP spid="93" grpId="0" animBg="1"/>
      <p:bldP spid="94" grpId="0"/>
      <p:bldP spid="62" grpId="0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2785201"/>
            <a:ext cx="12192000" cy="820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ranquilo?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76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348645" y="226812"/>
            <a:ext cx="59602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os estilos das músicas que eu gosto...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-901337" y="953589"/>
            <a:ext cx="405225" cy="313508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 33"/>
          <p:cNvSpPr/>
          <p:nvPr/>
        </p:nvSpPr>
        <p:spPr>
          <a:xfrm>
            <a:off x="-901337" y="1372219"/>
            <a:ext cx="405225" cy="313508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-901338" y="1790849"/>
            <a:ext cx="405225" cy="313508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428700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92931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Retângulo 19"/>
          <p:cNvSpPr/>
          <p:nvPr/>
        </p:nvSpPr>
        <p:spPr>
          <a:xfrm>
            <a:off x="8186849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428699" y="992776"/>
            <a:ext cx="3600000" cy="746236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Retângulo 21"/>
          <p:cNvSpPr/>
          <p:nvPr/>
        </p:nvSpPr>
        <p:spPr>
          <a:xfrm>
            <a:off x="428698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4292930" y="992776"/>
            <a:ext cx="3600001" cy="746236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4292930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lian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8186848" y="992776"/>
            <a:ext cx="3600001" cy="746236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8186848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570016" y="3217175"/>
            <a:ext cx="332508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Sua origem é o Hip-hop, mas basicamente é uma mistura de rap com música eletrônica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otti_20_sec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803563" y="2150473"/>
            <a:ext cx="609600" cy="609600"/>
          </a:xfrm>
          <a:prstGeom prst="rect">
            <a:avLst/>
          </a:prstGeom>
        </p:spPr>
      </p:pic>
      <p:sp>
        <p:nvSpPr>
          <p:cNvPr id="32" name="CaixaDeTexto 31"/>
          <p:cNvSpPr txBox="1"/>
          <p:nvPr/>
        </p:nvSpPr>
        <p:spPr>
          <a:xfrm>
            <a:off x="1620058" y="2007969"/>
            <a:ext cx="240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6IX9INE –</a:t>
            </a:r>
          </a:p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tti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1628424" y="5136128"/>
            <a:ext cx="240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nny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Blanco – </a:t>
            </a:r>
          </a:p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aduation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benny_20_sec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803563" y="5278628"/>
            <a:ext cx="609600" cy="609600"/>
          </a:xfrm>
          <a:prstGeom prst="rect">
            <a:avLst/>
          </a:prstGeom>
        </p:spPr>
      </p:pic>
      <p:sp>
        <p:nvSpPr>
          <p:cNvPr id="37" name="CaixaDeTexto 36"/>
          <p:cNvSpPr txBox="1"/>
          <p:nvPr/>
        </p:nvSpPr>
        <p:spPr>
          <a:xfrm>
            <a:off x="4427313" y="3217175"/>
            <a:ext cx="332508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Tem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nfluências do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low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e do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hous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Sempre tem um vocal também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5579678" y="1987381"/>
            <a:ext cx="240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t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alers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</a:p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avity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5485721" y="5183628"/>
            <a:ext cx="22666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KVSH – Sorri, sou rei (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mix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8329351" y="3217175"/>
            <a:ext cx="345749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lta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energia com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batidas bem rápidas, ressonância e ritmos que variam bastante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9485225" y="5136124"/>
            <a:ext cx="240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ura 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ortex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</a:p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mpage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9517778" y="2007969"/>
            <a:ext cx="24002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TERRA – </a:t>
            </a:r>
          </a:p>
          <a:p>
            <a:pPr>
              <a:lnSpc>
                <a:spcPct val="15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undalini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cat_20_sec">
            <a:hlinkClick r:id="" action="ppaction://media"/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4648712" y="2150473"/>
            <a:ext cx="609600" cy="609600"/>
          </a:xfrm>
          <a:prstGeom prst="rect">
            <a:avLst/>
          </a:prstGeom>
        </p:spPr>
      </p:pic>
      <p:pic>
        <p:nvPicPr>
          <p:cNvPr id="9" name="kvsh_20_sec">
            <a:hlinkClick r:id="" action="ppaction://media"/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4648712" y="5292993"/>
            <a:ext cx="609600" cy="609600"/>
          </a:xfrm>
          <a:prstGeom prst="rect">
            <a:avLst/>
          </a:prstGeom>
        </p:spPr>
      </p:pic>
      <p:pic>
        <p:nvPicPr>
          <p:cNvPr id="10" name="aura_vortex_20_sec">
            <a:hlinkClick r:id="" action="ppaction://media"/>
          </p:cNvPr>
          <p:cNvPicPr>
            <a:picLocks noChangeAspect="1"/>
          </p:cNvPicPr>
          <p:nvPr>
            <a:audi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8698106" y="5278628"/>
            <a:ext cx="609600" cy="609600"/>
          </a:xfrm>
          <a:prstGeom prst="rect">
            <a:avLst/>
          </a:prstGeom>
        </p:spPr>
      </p:pic>
      <p:pic>
        <p:nvPicPr>
          <p:cNvPr id="13" name="terra_20_sec">
            <a:hlinkClick r:id="" action="ppaction://media"/>
          </p:cNvPr>
          <p:cNvPicPr>
            <a:picLocks noChangeAspect="1"/>
          </p:cNvPicPr>
          <p:nvPr>
            <a:audi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8698106" y="215047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65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7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audio>
              <p:cMediaNode vol="80000">
                <p:cTn id="7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7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80000">
                <p:cTn id="7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audio>
              <p:cMediaNode vol="80000">
                <p:cTn id="7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  <p:bldLst>
      <p:bldP spid="19" grpId="0" animBg="1"/>
      <p:bldP spid="20" grpId="0" animBg="1"/>
      <p:bldP spid="23" grpId="0" animBg="1"/>
      <p:bldP spid="24" grpId="0"/>
      <p:bldP spid="25" grpId="0" animBg="1"/>
      <p:bldP spid="26" grpId="0"/>
      <p:bldP spid="30" grpId="0"/>
      <p:bldP spid="36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27991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coletando dado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428700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Retângulo 29"/>
          <p:cNvSpPr/>
          <p:nvPr/>
        </p:nvSpPr>
        <p:spPr>
          <a:xfrm>
            <a:off x="4292931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Retângulo 30"/>
          <p:cNvSpPr/>
          <p:nvPr/>
        </p:nvSpPr>
        <p:spPr>
          <a:xfrm>
            <a:off x="8186849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/>
          <p:cNvSpPr/>
          <p:nvPr/>
        </p:nvSpPr>
        <p:spPr>
          <a:xfrm>
            <a:off x="428699" y="992776"/>
            <a:ext cx="3600000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/>
          <p:cNvSpPr/>
          <p:nvPr/>
        </p:nvSpPr>
        <p:spPr>
          <a:xfrm>
            <a:off x="42869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fui no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ube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colher as músicas ...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4292930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/>
          <p:cNvSpPr/>
          <p:nvPr/>
        </p:nvSpPr>
        <p:spPr>
          <a:xfrm>
            <a:off x="4292930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converti em .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v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lo site savethevideo.com ... 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8186848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/>
          <p:cNvSpPr/>
          <p:nvPr/>
        </p:nvSpPr>
        <p:spPr>
          <a:xfrm>
            <a:off x="8186848" y="1052669"/>
            <a:ext cx="3600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carreguei elas no </a:t>
            </a:r>
            <a:r>
              <a:rPr lang="pt-BR" i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 o pacote </a:t>
            </a:r>
            <a:r>
              <a:rPr lang="pt-BR" i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ROSA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!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53" name="Imagem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694" y="2068302"/>
            <a:ext cx="2569466" cy="1284733"/>
          </a:xfrm>
          <a:prstGeom prst="rect">
            <a:avLst/>
          </a:prstGeom>
        </p:spPr>
      </p:pic>
      <p:sp>
        <p:nvSpPr>
          <p:cNvPr id="54" name="CaixaDeTexto 53"/>
          <p:cNvSpPr txBox="1"/>
          <p:nvPr/>
        </p:nvSpPr>
        <p:spPr>
          <a:xfrm>
            <a:off x="668959" y="3882933"/>
            <a:ext cx="33300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ara nosso case, selecionei 33 músicas no total, 11 de cada estilo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Imagem 5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786" y="2563727"/>
            <a:ext cx="3039584" cy="386206"/>
          </a:xfrm>
          <a:prstGeom prst="rect">
            <a:avLst/>
          </a:prstGeom>
        </p:spPr>
      </p:pic>
      <p:sp>
        <p:nvSpPr>
          <p:cNvPr id="56" name="CaixaDeTexto 55"/>
          <p:cNvSpPr txBox="1"/>
          <p:nvPr/>
        </p:nvSpPr>
        <p:spPr>
          <a:xfrm>
            <a:off x="4455199" y="3882933"/>
            <a:ext cx="33300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o formato .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av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que é mais pesado deu num total de 1,84 GB!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Imagem 5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218" y="2149877"/>
            <a:ext cx="1046326" cy="1211535"/>
          </a:xfrm>
          <a:prstGeom prst="rect">
            <a:avLst/>
          </a:prstGeom>
        </p:spPr>
      </p:pic>
      <p:sp>
        <p:nvSpPr>
          <p:cNvPr id="58" name="CaixaDeTexto 57"/>
          <p:cNvSpPr txBox="1"/>
          <p:nvPr/>
        </p:nvSpPr>
        <p:spPr>
          <a:xfrm>
            <a:off x="8321820" y="3882933"/>
            <a:ext cx="33476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OSA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é um pacote em </a:t>
            </a:r>
            <a:r>
              <a:rPr lang="pt-BR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para análise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de música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Imagem 5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1" r="65423"/>
          <a:stretch/>
        </p:blipFill>
        <p:spPr>
          <a:xfrm>
            <a:off x="10210667" y="1978103"/>
            <a:ext cx="1296536" cy="1729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361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/>
      <p:bldP spid="34" grpId="0" animBg="1"/>
      <p:bldP spid="35" grpId="0"/>
      <p:bldP spid="36" grpId="0" animBg="1"/>
      <p:bldP spid="37" grpId="0"/>
      <p:bldP spid="54" grpId="0"/>
      <p:bldP spid="56" grpId="0"/>
      <p:bldP spid="5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27334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lista de músicas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428700" y="992775"/>
            <a:ext cx="3780000" cy="519426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etângulo 23"/>
          <p:cNvSpPr/>
          <p:nvPr/>
        </p:nvSpPr>
        <p:spPr>
          <a:xfrm>
            <a:off x="4292931" y="992775"/>
            <a:ext cx="3780000" cy="519426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etângulo 24"/>
          <p:cNvSpPr/>
          <p:nvPr/>
        </p:nvSpPr>
        <p:spPr>
          <a:xfrm>
            <a:off x="8186849" y="992775"/>
            <a:ext cx="3780000" cy="519426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428699" y="992776"/>
            <a:ext cx="3780000" cy="746236"/>
          </a:xfrm>
          <a:prstGeom prst="rect">
            <a:avLst/>
          </a:prstGeom>
          <a:solidFill>
            <a:srgbClr val="E681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/>
          <p:cNvSpPr/>
          <p:nvPr/>
        </p:nvSpPr>
        <p:spPr>
          <a:xfrm>
            <a:off x="428697" y="1052669"/>
            <a:ext cx="378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p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4292929" y="992776"/>
            <a:ext cx="3780000" cy="746236"/>
          </a:xfrm>
          <a:prstGeom prst="rect">
            <a:avLst/>
          </a:prstGeom>
          <a:solidFill>
            <a:srgbClr val="58A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Retângulo 37"/>
          <p:cNvSpPr/>
          <p:nvPr/>
        </p:nvSpPr>
        <p:spPr>
          <a:xfrm>
            <a:off x="4292929" y="1052669"/>
            <a:ext cx="378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lian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8186847" y="992776"/>
            <a:ext cx="3780000" cy="746236"/>
          </a:xfrm>
          <a:prstGeom prst="rect">
            <a:avLst/>
          </a:prstGeom>
          <a:solidFill>
            <a:srgbClr val="529F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Retângulo 39"/>
          <p:cNvSpPr/>
          <p:nvPr/>
        </p:nvSpPr>
        <p:spPr>
          <a:xfrm>
            <a:off x="8186847" y="1052669"/>
            <a:ext cx="378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ytrance</a:t>
            </a:r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1" y="2238892"/>
            <a:ext cx="3608862" cy="336109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302" y="2211960"/>
            <a:ext cx="3361090" cy="341495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894" y="2238892"/>
            <a:ext cx="3626709" cy="3361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69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6" grpId="0" animBg="1"/>
      <p:bldP spid="27" grpId="0"/>
      <p:bldP spid="28" grpId="0" animBg="1"/>
      <p:bldP spid="38" grpId="0"/>
      <p:bldP spid="39" grpId="0" animBg="1"/>
      <p:bldP spid="4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348645" y="226812"/>
            <a:ext cx="72154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algumas das variáveis das músicas eu analisei</a:t>
            </a:r>
            <a:endParaRPr lang="pt-BR" sz="2400" b="1" dirty="0">
              <a:solidFill>
                <a:schemeClr val="accent2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428700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4292931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8186849" y="992775"/>
            <a:ext cx="3600000" cy="55517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428699" y="992776"/>
            <a:ext cx="3600000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428698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ção da música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4292930" y="984064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4292930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tidas por minut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2" name="Retângulo 21"/>
          <p:cNvSpPr/>
          <p:nvPr/>
        </p:nvSpPr>
        <p:spPr>
          <a:xfrm>
            <a:off x="8186848" y="992776"/>
            <a:ext cx="3600001" cy="7462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Retângulo 28"/>
          <p:cNvSpPr/>
          <p:nvPr/>
        </p:nvSpPr>
        <p:spPr>
          <a:xfrm>
            <a:off x="8186848" y="1052669"/>
            <a:ext cx="3600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sidade do som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668959" y="1935382"/>
            <a:ext cx="33300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Quantos segundos a música tem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4455199" y="1935382"/>
            <a:ext cx="3330054" cy="3330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Batidas por minuto (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bpm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) ou batimentos por minuto, é uma velocidade rítmica. Usada para medição da pulsação do coração humano e do andamento musical.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8321821" y="1935382"/>
            <a:ext cx="333005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 intensidade também chamada de sonoridade, é uma propriedade que distingue se o som é fraco (baixa intensidade) ou forte alta intensidade.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608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/>
      <p:bldP spid="20" grpId="0" animBg="1"/>
      <p:bldP spid="21" grpId="0"/>
      <p:bldP spid="22" grpId="0" animBg="1"/>
      <p:bldP spid="29" grpId="0"/>
      <p:bldP spid="31" grpId="0"/>
      <p:bldP spid="33" grpId="0"/>
      <p:bldP spid="3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8</TotalTime>
  <Words>1256</Words>
  <Application>Microsoft Office PowerPoint</Application>
  <PresentationFormat>Widescreen</PresentationFormat>
  <Paragraphs>274</Paragraphs>
  <Slides>31</Slides>
  <Notes>2</Notes>
  <HiddenSlides>0</HiddenSlides>
  <MMClips>12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36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Itaú Unibanc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lliam Kendi Goto</dc:creator>
  <cp:lastModifiedBy>kendi goto</cp:lastModifiedBy>
  <cp:revision>131</cp:revision>
  <dcterms:created xsi:type="dcterms:W3CDTF">2019-09-18T18:04:11Z</dcterms:created>
  <dcterms:modified xsi:type="dcterms:W3CDTF">2019-09-24T04:36:14Z</dcterms:modified>
</cp:coreProperties>
</file>